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3.xml" ContentType="application/vnd.openxmlformats-officedocument.themeOverr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5.xml" ContentType="application/vnd.openxmlformats-officedocument.themeOverr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7.xml" ContentType="application/vnd.openxmlformats-officedocument.themeOverr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0" r:id="rId2"/>
    <p:sldMasterId id="2147483651" r:id="rId3"/>
    <p:sldMasterId id="2147483835" r:id="rId4"/>
    <p:sldMasterId id="2147483837" r:id="rId5"/>
    <p:sldMasterId id="2147484114" r:id="rId6"/>
  </p:sldMasterIdLst>
  <p:notesMasterIdLst>
    <p:notesMasterId r:id="rId21"/>
  </p:notesMasterIdLst>
  <p:handoutMasterIdLst>
    <p:handoutMasterId r:id="rId22"/>
  </p:handoutMasterIdLst>
  <p:sldIdLst>
    <p:sldId id="261" r:id="rId7"/>
    <p:sldId id="293" r:id="rId8"/>
    <p:sldId id="360" r:id="rId9"/>
    <p:sldId id="459" r:id="rId10"/>
    <p:sldId id="454" r:id="rId11"/>
    <p:sldId id="461" r:id="rId12"/>
    <p:sldId id="455" r:id="rId13"/>
    <p:sldId id="462" r:id="rId14"/>
    <p:sldId id="456" r:id="rId15"/>
    <p:sldId id="464" r:id="rId16"/>
    <p:sldId id="457" r:id="rId17"/>
    <p:sldId id="463" r:id="rId18"/>
    <p:sldId id="458" r:id="rId19"/>
    <p:sldId id="282" r:id="rId20"/>
  </p:sldIdLst>
  <p:sldSz cx="9144000" cy="6858000" type="screen4x3"/>
  <p:notesSz cx="6735763" cy="98663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312F"/>
    <a:srgbClr val="3366FF"/>
    <a:srgbClr val="0099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08" autoAdjust="0"/>
    <p:restoredTop sz="97814" autoAdjust="0"/>
  </p:normalViewPr>
  <p:slideViewPr>
    <p:cSldViewPr>
      <p:cViewPr>
        <p:scale>
          <a:sx n="60" d="100"/>
          <a:sy n="60" d="100"/>
        </p:scale>
        <p:origin x="-1632" y="-2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12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BB943E-7E77-4CB9-90D8-E2607C7A9EF0}" type="datetimeFigureOut">
              <a:rPr lang="zh-CN" altLang="en-US" smtClean="0"/>
              <a:pPr/>
              <a:t>2014/4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8B059A-8902-4C2D-BBD1-DDE205030A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72214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5373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577" y="4686499"/>
            <a:ext cx="5388610" cy="443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1285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5373" y="9371285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781C604-FA33-457E-9338-43F31E1F601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946895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3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5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7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9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11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DEE45-C5D7-4970-A511-B647EB92B224}" type="slidenum">
              <a:rPr lang="en-US" altLang="zh-CN" smtClean="0">
                <a:latin typeface="Arial" pitchFamily="34" charset="0"/>
              </a:rPr>
              <a:pPr/>
              <a:t>13</a:t>
            </a:fld>
            <a:endParaRPr lang="en-US" altLang="zh-CN" smtClean="0">
              <a:latin typeface="Arial" pitchFamily="34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zh-CN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1FE94F-8E5F-4CC2-B9D1-87D91F6B2F0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A01A8-3F53-46A8-BD26-54FDAABC815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53200" y="274638"/>
            <a:ext cx="2133600" cy="5699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152400" y="274638"/>
            <a:ext cx="6248400" cy="5699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86D9D-96FE-4EA6-8A20-E334201B7B0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682EA-86AB-4A1D-9466-C655742D799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3220"/>
          </a:xfrm>
        </p:spPr>
        <p:txBody>
          <a:bodyPr>
            <a:spAutoFit/>
          </a:bodyPr>
          <a:lstStyle>
            <a:lvl1pPr>
              <a:defRPr sz="2800" b="1"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2175980"/>
          </a:xfrm>
        </p:spPr>
        <p:txBody>
          <a:bodyPr>
            <a:spAutoFit/>
          </a:bodyPr>
          <a:lstStyle>
            <a:lvl1pPr>
              <a:lnSpc>
                <a:spcPct val="150000"/>
              </a:lnSpc>
              <a:defRPr sz="2000" b="1">
                <a:latin typeface="华文仿宋" pitchFamily="2" charset="-122"/>
                <a:ea typeface="华文仿宋" pitchFamily="2" charset="-122"/>
              </a:defRPr>
            </a:lvl1pPr>
            <a:lvl2pPr>
              <a:lnSpc>
                <a:spcPct val="150000"/>
              </a:lnSpc>
              <a:defRPr sz="1800">
                <a:latin typeface="华文仿宋" pitchFamily="2" charset="-122"/>
                <a:ea typeface="华文仿宋" pitchFamily="2" charset="-122"/>
              </a:defRPr>
            </a:lvl2pPr>
            <a:lvl3pPr>
              <a:lnSpc>
                <a:spcPct val="150000"/>
              </a:lnSpc>
              <a:defRPr sz="1600">
                <a:latin typeface="华文仿宋" pitchFamily="2" charset="-122"/>
                <a:ea typeface="华文仿宋" pitchFamily="2" charset="-122"/>
              </a:defRPr>
            </a:lvl3pPr>
            <a:lvl4pPr>
              <a:lnSpc>
                <a:spcPct val="150000"/>
              </a:lnSpc>
              <a:defRPr sz="1400">
                <a:latin typeface="华文仿宋" pitchFamily="2" charset="-122"/>
                <a:ea typeface="华文仿宋" pitchFamily="2" charset="-122"/>
              </a:defRPr>
            </a:lvl4pPr>
            <a:lvl5pPr>
              <a:lnSpc>
                <a:spcPct val="150000"/>
              </a:lnSpc>
              <a:defRPr sz="1400">
                <a:latin typeface="华文仿宋" pitchFamily="2" charset="-122"/>
                <a:ea typeface="华文仿宋" pitchFamily="2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华文仿宋" pitchFamily="2" charset="-122"/>
                <a:ea typeface="华文仿宋" pitchFamily="2" charset="-122"/>
              </a:defRPr>
            </a:lvl1pPr>
          </a:lstStyle>
          <a:p>
            <a:pPr>
              <a:defRPr/>
            </a:pPr>
            <a:fld id="{335BAF40-BCEC-4841-A28E-702A894CDC4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91264-0E81-4673-A3B8-C427F83954E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229AB-A99A-4852-877B-4F9F55A2121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2611E2-43A0-40C0-8325-4DFB9FC5A47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D1604-584C-4838-81C5-011DB6E84CE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48DDBE-BDE3-402B-8036-72A15791099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83B1FC-C419-44A6-9B0D-BEE2C747A90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33F77-BC91-4697-9116-077C4DABF12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2E2F1-5497-46CD-AC7E-EBC955ED86F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EAB80-FEB5-4D50-B553-950A667ED0E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3DFBE3-488B-42D4-8C9B-9F34AEA7503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zh-CN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C8B90-46E0-4B9D-9486-77D1C72809D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29D12-3DDA-40CA-9526-11C0E7D36E4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7FF4C-D9EA-4926-ACDC-BF245FE6182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34F88E-CCBE-4272-BE30-D9B824816A0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3F47D-E3B8-4930-B5A3-605436112C8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27C2A8-CED5-4E26-B005-EA92999A408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E1FA0C-A456-418B-99C3-40CF49F415E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87DD4-2D95-419E-9B20-45555E32C86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D2D11-AA6D-4393-86AF-9B4BF21095E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70DC57-94DA-447F-911C-627F23AA866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5021E4-DF79-4F54-9B97-F7BB7359D2D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2A57A2-4F41-4C9F-B245-DE216D489DC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3BEAD-E36C-428C-BDFB-D263B04A9A8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971800" y="1733550"/>
            <a:ext cx="1066800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2000">
                <a:latin typeface="Arial" charset="0"/>
              </a:rPr>
              <a:t>Agenda</a:t>
            </a:r>
            <a:endParaRPr lang="zh-CN" altLang="en-US" sz="2000">
              <a:latin typeface="Arial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2400" y="2819400"/>
            <a:ext cx="8229600" cy="4525963"/>
          </a:xfrm>
        </p:spPr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A63C6-B1A2-49E0-A525-D804E735557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8C3AA-5871-4FE0-849E-CEC220048906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A8B68-9A42-427D-8E20-677743638E8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9D8-BBFA-4E65-B6D5-F046D9999BDB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753CE9-B743-4DF8-8C42-63C320479983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3633BE-45FA-4E6E-B95E-D460151F8AF5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7ABE8-B5B2-431E-8062-FF437746C247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4B6-E153-492C-A25F-5CE799F9E5E7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8936EF-8396-49A5-943A-849B44E3026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52400" y="14478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343400" y="14478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9644CD-77AF-43B7-BE4C-A223B367A24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F09F5-D6F8-4CBF-ADDA-A8D977807096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9861D4-1BB9-42CA-BD48-12E973709B64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1D987-24EB-4847-A2A3-D90D46CA10A4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7199B-7F3A-4DB6-A209-A5EF3E4CE6E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0A6F38-6A70-44BB-AF53-3BDBC7FAEB94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5877E-3480-4826-9C53-3B257C6FFDF3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61B71-E2A6-4AA8-A511-C4009DBED1B1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409CC9-C7BC-4ED8-995D-E40C3ADE96BB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8C3F9-EC4B-4E90-A444-BC666C2091B4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A7A0C6-C4C0-475A-B8BD-DB390ECF1279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A0778-D4C0-497C-8014-B28D51AD96F6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6DD2F-DB7D-4A42-AD72-972C0AB891B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4A40-84C7-4A8B-A692-9462AB527773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0E151-D7F1-40FF-8595-BCB2C4B2AEC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0" y="1124744"/>
            <a:ext cx="9144000" cy="1470025"/>
          </a:xfrm>
        </p:spPr>
        <p:txBody>
          <a:bodyPr vert="horz" lIns="91440" tIns="45720" rIns="91440" bIns="45720" rtlCol="0">
            <a:normAutofit/>
          </a:bodyPr>
          <a:lstStyle>
            <a:lvl1pPr algn="ctr">
              <a:defRPr lang="zh-CN" altLang="en-US" sz="4400" baseline="0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黑体" pitchFamily="49" charset="-122"/>
              </a:defRPr>
            </a:lvl1pPr>
          </a:lstStyle>
          <a:p>
            <a:pPr marL="0" lvl="0" indent="0" algn="ctr" fontAlgn="base">
              <a:spcBef>
                <a:spcPts val="600"/>
              </a:spcBef>
              <a:spcAft>
                <a:spcPts val="600"/>
              </a:spcAft>
              <a:buClr>
                <a:srgbClr val="FF9933"/>
              </a:buClr>
              <a:buFont typeface="Wingdings" pitchFamily="2" charset="2"/>
            </a:pPr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501008"/>
            <a:ext cx="6400800" cy="1752600"/>
          </a:xfrm>
        </p:spPr>
        <p:txBody>
          <a:bodyPr/>
          <a:lstStyle>
            <a:lvl1pPr marL="0" indent="0" algn="ctr">
              <a:buNone/>
              <a:defRPr b="1" baseline="0">
                <a:solidFill>
                  <a:srgbClr val="0070C0"/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Arial" pitchFamily="34" charset="0"/>
                <a:ea typeface="微软雅黑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836712"/>
            <a:ext cx="8496944" cy="54006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5BAF40-BCEC-4841-A28E-702A894CDC45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矩形 6"/>
          <p:cNvSpPr/>
          <p:nvPr/>
        </p:nvSpPr>
        <p:spPr>
          <a:xfrm>
            <a:off x="3017178" y="1696948"/>
            <a:ext cx="1402422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400" b="1" dirty="0" smtClean="0">
                <a:solidFill>
                  <a:schemeClr val="tx1"/>
                </a:solidFill>
                <a:latin typeface="+mj-lt"/>
              </a:rPr>
              <a:t>Agenda</a:t>
            </a:r>
            <a:endParaRPr lang="zh-CN" altLang="en-US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3131840" y="2132856"/>
            <a:ext cx="5760639" cy="4104456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</p:txBody>
      </p:sp>
    </p:spTree>
    <p:extLst>
      <p:ext uri="{BB962C8B-B14F-4D97-AF65-F5344CB8AC3E}">
        <p14:creationId xmlns:p14="http://schemas.microsoft.com/office/powerpoint/2010/main" val="248278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F3982A-03E2-489A-91FF-6FC04ED4875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67644" y="1268760"/>
            <a:ext cx="6408712" cy="648072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2339752" y="1988840"/>
            <a:ext cx="5904656" cy="36004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43107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891264-0E81-4673-A3B8-C427F83954EA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E229AB-A99A-4852-877B-4F9F55A21218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2611E2-43A0-40C0-8325-4DFB9FC5A47C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ED1604-584C-4838-81C5-011DB6E84CEE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48DDBE-BDE3-402B-8036-72A15791099F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83B1FC-C419-44A6-9B0D-BEE2C747A90B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82E2F1-5497-46CD-AC7E-EBC955ED86F0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3EAB80-FEB5-4D50-B553-950A667ED0ED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3DFBE3-488B-42D4-8C9B-9F34AEA75037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E5BC8-AE2E-449F-8D41-198C56AE52E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屏幕快照 2010-04-16 下午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内容占位符 7"/>
          <p:cNvSpPr>
            <a:spLocks noGrp="1"/>
          </p:cNvSpPr>
          <p:nvPr>
            <p:ph sz="quarter" idx="10"/>
          </p:nvPr>
        </p:nvSpPr>
        <p:spPr>
          <a:xfrm>
            <a:off x="0" y="3306688"/>
            <a:ext cx="9144000" cy="914400"/>
          </a:xfrm>
        </p:spPr>
        <p:txBody>
          <a:bodyPr anchor="ctr">
            <a:no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marL="0" indent="0" algn="ctr">
              <a:buNone/>
              <a:defRPr lang="zh-CN" altLang="en-US" sz="4400" b="1" kern="1200" cap="none" spc="50" baseline="0" smtClean="0">
                <a:ln w="11430"/>
                <a:solidFill>
                  <a:srgbClr val="FF9933"/>
                </a:solidFill>
                <a:effectLst>
                  <a:innerShdw blurRad="114300">
                    <a:prstClr val="black"/>
                  </a:innerShdw>
                  <a:reflection blurRad="6350" stA="55000" endA="300" endPos="45500" dir="5400000" sy="-100000" algn="bl" rotWithShape="0"/>
                </a:effectLst>
                <a:latin typeface="Arial" pitchFamily="34" charset="0"/>
                <a:ea typeface="微软雅黑" pitchFamily="34" charset="-122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9933"/>
              </a:buClr>
              <a:buNone/>
            </a:pPr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21662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1285E6-9274-4B59-B3FC-C44B776AAC4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0197E-915B-4D49-A3A6-4963F991294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965001-B368-40DA-8A15-120140C0058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4478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47800" y="624840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371600" y="62484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fld id="{3395A16F-B17A-4134-9B6F-73B5709B9A0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AFA7683E-539F-4C2F-91E1-20BDF575454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3079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4024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09AABB53-046C-44FB-96AF-C3141BEB397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4103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4478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9" name="日期占位符 3"/>
          <p:cNvSpPr>
            <a:spLocks noGrp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400" b="0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" name="页脚占位符 4"/>
          <p:cNvSpPr>
            <a:spLocks noGrp="1"/>
          </p:cNvSpPr>
          <p:nvPr>
            <p:ph type="ftr" sz="quarter" idx="3"/>
          </p:nvPr>
        </p:nvSpPr>
        <p:spPr bwMode="auto">
          <a:xfrm>
            <a:off x="1447800" y="6248400"/>
            <a:ext cx="2895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defRPr sz="1400" b="0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 bwMode="auto">
          <a:xfrm>
            <a:off x="-1371600" y="6248400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400" b="0">
                <a:solidFill>
                  <a:schemeClr val="bg2"/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505D594C-14BA-4757-A613-4262759E27F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charset="0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A2E4B85-1611-4A50-B44F-F9CA6AD679BF}" type="datetimeFigureOut">
              <a:rPr lang="zh-CN" altLang="en-US"/>
              <a:pPr>
                <a:defRPr/>
              </a:pPr>
              <a:t>2014/4/9</a:t>
            </a:fld>
            <a:endParaRPr lang="en-US" altLang="zh-CN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kumimoji="0" sz="1400" b="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ACDC715F-DE6D-4F9D-BC43-653FDA7CA25D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6151" name="Picture 7" descr="屏幕快照 2010-04-16 下午0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屏幕快照 2010-04-16 下午01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79512" y="44624"/>
            <a:ext cx="7272808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l" rtl="0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79512" y="836712"/>
            <a:ext cx="8712968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395A16F-B17A-4134-9B6F-73B5709B9A06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8" name="Rectangle 62"/>
          <p:cNvSpPr>
            <a:spLocks noChangeArrowheads="1"/>
          </p:cNvSpPr>
          <p:nvPr/>
        </p:nvSpPr>
        <p:spPr bwMode="auto">
          <a:xfrm>
            <a:off x="9199564" y="50800"/>
            <a:ext cx="989012" cy="3024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39" tIns="40069" rIns="80139" bIns="40069">
            <a:spAutoFit/>
          </a:bodyPr>
          <a:lstStyle/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中文字体：微软雅黑</a:t>
            </a: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西文字体：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rial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标题字体颜色：</a:t>
            </a: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GB (0,</a:t>
            </a:r>
            <a:r>
              <a:rPr lang="en-US" altLang="zh-CN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112, 192)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内容字体颜色：</a:t>
            </a:r>
            <a:endParaRPr lang="en-US" altLang="zh-CN" sz="900" baseline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baseline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黑色</a:t>
            </a:r>
            <a:endParaRPr lang="en-US" altLang="zh-CN" sz="900" baseline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endParaRPr lang="en-US" altLang="zh-CN" sz="90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配</a:t>
            </a: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色参考方案：</a:t>
            </a:r>
          </a:p>
          <a:p>
            <a:pPr lvl="0" algn="l" defTabSz="801688" eaLnBrk="0" hangingPunct="0">
              <a:lnSpc>
                <a:spcPct val="125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议同一页面内不超过四种颜色，以下是</a:t>
            </a:r>
            <a:r>
              <a:rPr lang="en-US" altLang="zh-CN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组</a:t>
            </a:r>
            <a:r>
              <a:rPr lang="zh-CN" altLang="en-US" sz="9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配色方案，同一页面内只选择一组使用。（仅供参考</a:t>
            </a:r>
            <a:r>
              <a:rPr lang="zh-CN" altLang="en-US" sz="90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9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80"/>
          <p:cNvSpPr>
            <a:spLocks noChangeArrowheads="1"/>
          </p:cNvSpPr>
          <p:nvPr/>
        </p:nvSpPr>
        <p:spPr bwMode="auto">
          <a:xfrm>
            <a:off x="9269413" y="3080093"/>
            <a:ext cx="919162" cy="370170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2" rIns="91425" bIns="45712" anchor="ctr">
            <a:noAutofit/>
          </a:bodyPr>
          <a:lstStyle/>
          <a:p>
            <a:endParaRPr lang="zh-CN" altLang="en-US"/>
          </a:p>
        </p:txBody>
      </p:sp>
      <p:grpSp>
        <p:nvGrpSpPr>
          <p:cNvPr id="10" name="Group 81"/>
          <p:cNvGrpSpPr>
            <a:grpSpLocks/>
          </p:cNvGrpSpPr>
          <p:nvPr/>
        </p:nvGrpSpPr>
        <p:grpSpPr bwMode="auto">
          <a:xfrm>
            <a:off x="9355138" y="3651250"/>
            <a:ext cx="739775" cy="182562"/>
            <a:chOff x="5893" y="2387"/>
            <a:chExt cx="466" cy="115"/>
          </a:xfrm>
        </p:grpSpPr>
        <p:sp>
          <p:nvSpPr>
            <p:cNvPr id="11" name="Rectangle 82"/>
            <p:cNvSpPr>
              <a:spLocks noChangeArrowheads="1"/>
            </p:cNvSpPr>
            <p:nvPr userDrawn="1"/>
          </p:nvSpPr>
          <p:spPr bwMode="auto">
            <a:xfrm flipV="1">
              <a:off x="6010" y="2387"/>
              <a:ext cx="116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2" name="Rectangle 83"/>
            <p:cNvSpPr>
              <a:spLocks noChangeArrowheads="1"/>
            </p:cNvSpPr>
            <p:nvPr userDrawn="1"/>
          </p:nvSpPr>
          <p:spPr bwMode="auto">
            <a:xfrm flipV="1">
              <a:off x="6126" y="2387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3" name="Rectangle 84"/>
            <p:cNvSpPr>
              <a:spLocks noChangeArrowheads="1"/>
            </p:cNvSpPr>
            <p:nvPr userDrawn="1"/>
          </p:nvSpPr>
          <p:spPr bwMode="auto">
            <a:xfrm flipV="1">
              <a:off x="6242" y="2387"/>
              <a:ext cx="117" cy="115"/>
            </a:xfrm>
            <a:prstGeom prst="rect">
              <a:avLst/>
            </a:prstGeom>
            <a:solidFill>
              <a:srgbClr val="996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4" name="Rectangle 85"/>
            <p:cNvSpPr>
              <a:spLocks noChangeArrowheads="1"/>
            </p:cNvSpPr>
            <p:nvPr userDrawn="1"/>
          </p:nvSpPr>
          <p:spPr bwMode="auto">
            <a:xfrm flipV="1">
              <a:off x="5893" y="2387"/>
              <a:ext cx="117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15" name="Group 86"/>
          <p:cNvGrpSpPr>
            <a:grpSpLocks/>
          </p:cNvGrpSpPr>
          <p:nvPr/>
        </p:nvGrpSpPr>
        <p:grpSpPr bwMode="auto">
          <a:xfrm>
            <a:off x="9355138" y="3867150"/>
            <a:ext cx="739775" cy="182562"/>
            <a:chOff x="5893" y="2523"/>
            <a:chExt cx="466" cy="115"/>
          </a:xfrm>
        </p:grpSpPr>
        <p:sp>
          <p:nvSpPr>
            <p:cNvPr id="16" name="Rectangle 87"/>
            <p:cNvSpPr>
              <a:spLocks noChangeArrowheads="1"/>
            </p:cNvSpPr>
            <p:nvPr userDrawn="1"/>
          </p:nvSpPr>
          <p:spPr bwMode="auto">
            <a:xfrm flipV="1">
              <a:off x="6010" y="2523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7" name="Rectangle 88"/>
            <p:cNvSpPr>
              <a:spLocks noChangeArrowheads="1"/>
            </p:cNvSpPr>
            <p:nvPr userDrawn="1"/>
          </p:nvSpPr>
          <p:spPr bwMode="auto">
            <a:xfrm flipV="1">
              <a:off x="6126" y="2523"/>
              <a:ext cx="116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8" name="Rectangle 89"/>
            <p:cNvSpPr>
              <a:spLocks noChangeArrowheads="1"/>
            </p:cNvSpPr>
            <p:nvPr userDrawn="1"/>
          </p:nvSpPr>
          <p:spPr bwMode="auto">
            <a:xfrm flipV="1">
              <a:off x="6242" y="2523"/>
              <a:ext cx="117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9" name="Rectangle 90"/>
            <p:cNvSpPr>
              <a:spLocks noChangeArrowheads="1"/>
            </p:cNvSpPr>
            <p:nvPr userDrawn="1"/>
          </p:nvSpPr>
          <p:spPr bwMode="auto">
            <a:xfrm flipV="1">
              <a:off x="5893" y="2523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20" name="Group 91"/>
          <p:cNvGrpSpPr>
            <a:grpSpLocks/>
          </p:cNvGrpSpPr>
          <p:nvPr/>
        </p:nvGrpSpPr>
        <p:grpSpPr bwMode="auto">
          <a:xfrm>
            <a:off x="9355138" y="4083050"/>
            <a:ext cx="739775" cy="182562"/>
            <a:chOff x="5893" y="2659"/>
            <a:chExt cx="466" cy="115"/>
          </a:xfrm>
        </p:grpSpPr>
        <p:sp>
          <p:nvSpPr>
            <p:cNvPr id="21" name="Rectangle 92"/>
            <p:cNvSpPr>
              <a:spLocks noChangeArrowheads="1"/>
            </p:cNvSpPr>
            <p:nvPr userDrawn="1"/>
          </p:nvSpPr>
          <p:spPr bwMode="auto">
            <a:xfrm flipV="1">
              <a:off x="6010" y="2659"/>
              <a:ext cx="116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" name="Rectangle 93"/>
            <p:cNvSpPr>
              <a:spLocks noChangeArrowheads="1"/>
            </p:cNvSpPr>
            <p:nvPr userDrawn="1"/>
          </p:nvSpPr>
          <p:spPr bwMode="auto">
            <a:xfrm flipV="1">
              <a:off x="6126" y="2659"/>
              <a:ext cx="116" cy="115"/>
            </a:xfrm>
            <a:prstGeom prst="rect">
              <a:avLst/>
            </a:prstGeom>
            <a:solidFill>
              <a:srgbClr val="009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3" name="Rectangle 94"/>
            <p:cNvSpPr>
              <a:spLocks noChangeArrowheads="1"/>
            </p:cNvSpPr>
            <p:nvPr userDrawn="1"/>
          </p:nvSpPr>
          <p:spPr bwMode="auto">
            <a:xfrm flipV="1">
              <a:off x="6242" y="2659"/>
              <a:ext cx="117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4" name="Rectangle 95"/>
            <p:cNvSpPr>
              <a:spLocks noChangeArrowheads="1"/>
            </p:cNvSpPr>
            <p:nvPr userDrawn="1"/>
          </p:nvSpPr>
          <p:spPr bwMode="auto">
            <a:xfrm flipV="1">
              <a:off x="5893" y="2659"/>
              <a:ext cx="117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25" name="Group 96"/>
          <p:cNvGrpSpPr>
            <a:grpSpLocks/>
          </p:cNvGrpSpPr>
          <p:nvPr/>
        </p:nvGrpSpPr>
        <p:grpSpPr bwMode="auto">
          <a:xfrm>
            <a:off x="9355138" y="3435350"/>
            <a:ext cx="739775" cy="188912"/>
            <a:chOff x="5893" y="2251"/>
            <a:chExt cx="466" cy="119"/>
          </a:xfrm>
        </p:grpSpPr>
        <p:sp>
          <p:nvSpPr>
            <p:cNvPr id="26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7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8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9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66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30" name="Group 101"/>
          <p:cNvGrpSpPr>
            <a:grpSpLocks/>
          </p:cNvGrpSpPr>
          <p:nvPr/>
        </p:nvGrpSpPr>
        <p:grpSpPr bwMode="auto">
          <a:xfrm>
            <a:off x="9355138" y="4443412"/>
            <a:ext cx="739775" cy="182563"/>
            <a:chOff x="5893" y="2886"/>
            <a:chExt cx="466" cy="115"/>
          </a:xfrm>
        </p:grpSpPr>
        <p:sp>
          <p:nvSpPr>
            <p:cNvPr id="31" name="Rectangle 102"/>
            <p:cNvSpPr>
              <a:spLocks noChangeArrowheads="1"/>
            </p:cNvSpPr>
            <p:nvPr userDrawn="1"/>
          </p:nvSpPr>
          <p:spPr bwMode="auto">
            <a:xfrm flipV="1">
              <a:off x="6010" y="2886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2" name="Rectangle 103"/>
            <p:cNvSpPr>
              <a:spLocks noChangeArrowheads="1"/>
            </p:cNvSpPr>
            <p:nvPr userDrawn="1"/>
          </p:nvSpPr>
          <p:spPr bwMode="auto">
            <a:xfrm flipV="1">
              <a:off x="6126" y="2886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3" name="Rectangle 104"/>
            <p:cNvSpPr>
              <a:spLocks noChangeArrowheads="1"/>
            </p:cNvSpPr>
            <p:nvPr userDrawn="1"/>
          </p:nvSpPr>
          <p:spPr bwMode="auto">
            <a:xfrm flipV="1">
              <a:off x="6242" y="2886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4" name="Rectangle 105"/>
            <p:cNvSpPr>
              <a:spLocks noChangeArrowheads="1"/>
            </p:cNvSpPr>
            <p:nvPr userDrawn="1"/>
          </p:nvSpPr>
          <p:spPr bwMode="auto">
            <a:xfrm flipV="1">
              <a:off x="5893" y="2886"/>
              <a:ext cx="117" cy="1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35" name="Group 106"/>
          <p:cNvGrpSpPr>
            <a:grpSpLocks/>
          </p:cNvGrpSpPr>
          <p:nvPr/>
        </p:nvGrpSpPr>
        <p:grpSpPr bwMode="auto">
          <a:xfrm>
            <a:off x="9355138" y="4659312"/>
            <a:ext cx="739775" cy="182563"/>
            <a:chOff x="5893" y="3022"/>
            <a:chExt cx="466" cy="115"/>
          </a:xfrm>
        </p:grpSpPr>
        <p:sp>
          <p:nvSpPr>
            <p:cNvPr id="36" name="Rectangle 107"/>
            <p:cNvSpPr>
              <a:spLocks noChangeArrowheads="1"/>
            </p:cNvSpPr>
            <p:nvPr userDrawn="1"/>
          </p:nvSpPr>
          <p:spPr bwMode="auto">
            <a:xfrm flipV="1">
              <a:off x="6010" y="3022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7" name="Rectangle 108"/>
            <p:cNvSpPr>
              <a:spLocks noChangeArrowheads="1"/>
            </p:cNvSpPr>
            <p:nvPr userDrawn="1"/>
          </p:nvSpPr>
          <p:spPr bwMode="auto">
            <a:xfrm flipV="1">
              <a:off x="6126" y="3022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8" name="Rectangle 109"/>
            <p:cNvSpPr>
              <a:spLocks noChangeArrowheads="1"/>
            </p:cNvSpPr>
            <p:nvPr userDrawn="1"/>
          </p:nvSpPr>
          <p:spPr bwMode="auto">
            <a:xfrm flipV="1">
              <a:off x="6242" y="3022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9" name="Rectangle 110"/>
            <p:cNvSpPr>
              <a:spLocks noChangeArrowheads="1"/>
            </p:cNvSpPr>
            <p:nvPr userDrawn="1"/>
          </p:nvSpPr>
          <p:spPr bwMode="auto">
            <a:xfrm flipV="1">
              <a:off x="5893" y="3022"/>
              <a:ext cx="117" cy="115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0" name="Group 111"/>
          <p:cNvGrpSpPr>
            <a:grpSpLocks/>
          </p:cNvGrpSpPr>
          <p:nvPr/>
        </p:nvGrpSpPr>
        <p:grpSpPr bwMode="auto">
          <a:xfrm>
            <a:off x="9355138" y="4875212"/>
            <a:ext cx="739775" cy="182563"/>
            <a:chOff x="5893" y="3158"/>
            <a:chExt cx="466" cy="115"/>
          </a:xfrm>
        </p:grpSpPr>
        <p:sp>
          <p:nvSpPr>
            <p:cNvPr id="41" name="Rectangle 112"/>
            <p:cNvSpPr>
              <a:spLocks noChangeArrowheads="1"/>
            </p:cNvSpPr>
            <p:nvPr userDrawn="1"/>
          </p:nvSpPr>
          <p:spPr bwMode="auto">
            <a:xfrm flipV="1">
              <a:off x="6010" y="3158"/>
              <a:ext cx="116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2" name="Rectangle 113"/>
            <p:cNvSpPr>
              <a:spLocks noChangeArrowheads="1"/>
            </p:cNvSpPr>
            <p:nvPr userDrawn="1"/>
          </p:nvSpPr>
          <p:spPr bwMode="auto">
            <a:xfrm flipV="1">
              <a:off x="6126" y="3158"/>
              <a:ext cx="116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3" name="Rectangle 114"/>
            <p:cNvSpPr>
              <a:spLocks noChangeArrowheads="1"/>
            </p:cNvSpPr>
            <p:nvPr userDrawn="1"/>
          </p:nvSpPr>
          <p:spPr bwMode="auto">
            <a:xfrm flipV="1">
              <a:off x="6242" y="3158"/>
              <a:ext cx="117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4" name="Rectangle 115"/>
            <p:cNvSpPr>
              <a:spLocks noChangeArrowheads="1"/>
            </p:cNvSpPr>
            <p:nvPr userDrawn="1"/>
          </p:nvSpPr>
          <p:spPr bwMode="auto">
            <a:xfrm flipV="1">
              <a:off x="5893" y="3158"/>
              <a:ext cx="117" cy="115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5" name="Group 116"/>
          <p:cNvGrpSpPr>
            <a:grpSpLocks/>
          </p:cNvGrpSpPr>
          <p:nvPr/>
        </p:nvGrpSpPr>
        <p:grpSpPr bwMode="auto">
          <a:xfrm>
            <a:off x="9355138" y="5235575"/>
            <a:ext cx="739775" cy="182562"/>
            <a:chOff x="5893" y="3385"/>
            <a:chExt cx="466" cy="115"/>
          </a:xfrm>
        </p:grpSpPr>
        <p:sp>
          <p:nvSpPr>
            <p:cNvPr id="46" name="Rectangle 117"/>
            <p:cNvSpPr>
              <a:spLocks noChangeArrowheads="1"/>
            </p:cNvSpPr>
            <p:nvPr userDrawn="1"/>
          </p:nvSpPr>
          <p:spPr bwMode="auto">
            <a:xfrm flipV="1">
              <a:off x="6010" y="3385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7" name="Rectangle 118"/>
            <p:cNvSpPr>
              <a:spLocks noChangeArrowheads="1"/>
            </p:cNvSpPr>
            <p:nvPr userDrawn="1"/>
          </p:nvSpPr>
          <p:spPr bwMode="auto">
            <a:xfrm flipV="1">
              <a:off x="6126" y="3385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" name="Rectangle 119"/>
            <p:cNvSpPr>
              <a:spLocks noChangeArrowheads="1"/>
            </p:cNvSpPr>
            <p:nvPr userDrawn="1"/>
          </p:nvSpPr>
          <p:spPr bwMode="auto">
            <a:xfrm flipV="1">
              <a:off x="6242" y="3385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9" name="Rectangle 120"/>
            <p:cNvSpPr>
              <a:spLocks noChangeArrowheads="1"/>
            </p:cNvSpPr>
            <p:nvPr userDrawn="1"/>
          </p:nvSpPr>
          <p:spPr bwMode="auto">
            <a:xfrm flipV="1">
              <a:off x="5893" y="3385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50" name="Group 121"/>
          <p:cNvGrpSpPr>
            <a:grpSpLocks/>
          </p:cNvGrpSpPr>
          <p:nvPr/>
        </p:nvGrpSpPr>
        <p:grpSpPr bwMode="auto">
          <a:xfrm>
            <a:off x="9355138" y="5451475"/>
            <a:ext cx="739775" cy="182562"/>
            <a:chOff x="5893" y="3521"/>
            <a:chExt cx="466" cy="115"/>
          </a:xfrm>
        </p:grpSpPr>
        <p:sp>
          <p:nvSpPr>
            <p:cNvPr id="51" name="Rectangle 122"/>
            <p:cNvSpPr>
              <a:spLocks noChangeArrowheads="1"/>
            </p:cNvSpPr>
            <p:nvPr userDrawn="1"/>
          </p:nvSpPr>
          <p:spPr bwMode="auto">
            <a:xfrm flipV="1">
              <a:off x="6010" y="3521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2" name="Rectangle 123"/>
            <p:cNvSpPr>
              <a:spLocks noChangeArrowheads="1"/>
            </p:cNvSpPr>
            <p:nvPr userDrawn="1"/>
          </p:nvSpPr>
          <p:spPr bwMode="auto">
            <a:xfrm flipV="1">
              <a:off x="6126" y="3521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3" name="Rectangle 124"/>
            <p:cNvSpPr>
              <a:spLocks noChangeArrowheads="1"/>
            </p:cNvSpPr>
            <p:nvPr userDrawn="1"/>
          </p:nvSpPr>
          <p:spPr bwMode="auto">
            <a:xfrm flipV="1">
              <a:off x="6242" y="3521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4" name="Rectangle 125"/>
            <p:cNvSpPr>
              <a:spLocks noChangeArrowheads="1"/>
            </p:cNvSpPr>
            <p:nvPr userDrawn="1"/>
          </p:nvSpPr>
          <p:spPr bwMode="auto">
            <a:xfrm flipV="1">
              <a:off x="5893" y="3521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55" name="Group 126"/>
          <p:cNvGrpSpPr>
            <a:grpSpLocks/>
          </p:cNvGrpSpPr>
          <p:nvPr/>
        </p:nvGrpSpPr>
        <p:grpSpPr bwMode="auto">
          <a:xfrm>
            <a:off x="9355138" y="5667375"/>
            <a:ext cx="739775" cy="182562"/>
            <a:chOff x="5893" y="3657"/>
            <a:chExt cx="466" cy="115"/>
          </a:xfrm>
        </p:grpSpPr>
        <p:sp>
          <p:nvSpPr>
            <p:cNvPr id="56" name="Rectangle 127"/>
            <p:cNvSpPr>
              <a:spLocks noChangeArrowheads="1"/>
            </p:cNvSpPr>
            <p:nvPr userDrawn="1"/>
          </p:nvSpPr>
          <p:spPr bwMode="auto">
            <a:xfrm flipV="1">
              <a:off x="6010" y="3657"/>
              <a:ext cx="116" cy="115"/>
            </a:xfrm>
            <a:prstGeom prst="rect">
              <a:avLst/>
            </a:pr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7" name="Rectangle 128"/>
            <p:cNvSpPr>
              <a:spLocks noChangeArrowheads="1"/>
            </p:cNvSpPr>
            <p:nvPr userDrawn="1"/>
          </p:nvSpPr>
          <p:spPr bwMode="auto">
            <a:xfrm flipV="1">
              <a:off x="6126" y="3657"/>
              <a:ext cx="116" cy="115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8" name="Rectangle 129"/>
            <p:cNvSpPr>
              <a:spLocks noChangeArrowheads="1"/>
            </p:cNvSpPr>
            <p:nvPr userDrawn="1"/>
          </p:nvSpPr>
          <p:spPr bwMode="auto">
            <a:xfrm flipV="1">
              <a:off x="6242" y="3657"/>
              <a:ext cx="117" cy="115"/>
            </a:xfrm>
            <a:prstGeom prst="rect">
              <a:avLst/>
            </a:prstGeom>
            <a:solidFill>
              <a:srgbClr val="99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9" name="Rectangle 130"/>
            <p:cNvSpPr>
              <a:spLocks noChangeArrowheads="1"/>
            </p:cNvSpPr>
            <p:nvPr userDrawn="1"/>
          </p:nvSpPr>
          <p:spPr bwMode="auto">
            <a:xfrm flipV="1">
              <a:off x="5893" y="3657"/>
              <a:ext cx="117" cy="11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0" name="Group 131"/>
          <p:cNvGrpSpPr>
            <a:grpSpLocks/>
          </p:cNvGrpSpPr>
          <p:nvPr/>
        </p:nvGrpSpPr>
        <p:grpSpPr bwMode="auto">
          <a:xfrm>
            <a:off x="9355138" y="6027737"/>
            <a:ext cx="739775" cy="182563"/>
            <a:chOff x="5893" y="3884"/>
            <a:chExt cx="466" cy="115"/>
          </a:xfrm>
        </p:grpSpPr>
        <p:sp>
          <p:nvSpPr>
            <p:cNvPr id="61" name="Rectangle 132"/>
            <p:cNvSpPr>
              <a:spLocks noChangeArrowheads="1"/>
            </p:cNvSpPr>
            <p:nvPr userDrawn="1"/>
          </p:nvSpPr>
          <p:spPr bwMode="auto">
            <a:xfrm flipV="1">
              <a:off x="6010" y="3884"/>
              <a:ext cx="116" cy="115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2" name="Rectangle 133"/>
            <p:cNvSpPr>
              <a:spLocks noChangeArrowheads="1"/>
            </p:cNvSpPr>
            <p:nvPr userDrawn="1"/>
          </p:nvSpPr>
          <p:spPr bwMode="auto">
            <a:xfrm flipV="1">
              <a:off x="6126" y="3884"/>
              <a:ext cx="116" cy="115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3" name="Rectangle 134"/>
            <p:cNvSpPr>
              <a:spLocks noChangeArrowheads="1"/>
            </p:cNvSpPr>
            <p:nvPr userDrawn="1"/>
          </p:nvSpPr>
          <p:spPr bwMode="auto">
            <a:xfrm flipV="1">
              <a:off x="6242" y="3884"/>
              <a:ext cx="117" cy="115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4" name="Rectangle 135"/>
            <p:cNvSpPr>
              <a:spLocks noChangeArrowheads="1"/>
            </p:cNvSpPr>
            <p:nvPr userDrawn="1"/>
          </p:nvSpPr>
          <p:spPr bwMode="auto">
            <a:xfrm flipV="1">
              <a:off x="5893" y="3884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5" name="Group 136"/>
          <p:cNvGrpSpPr>
            <a:grpSpLocks/>
          </p:cNvGrpSpPr>
          <p:nvPr/>
        </p:nvGrpSpPr>
        <p:grpSpPr bwMode="auto">
          <a:xfrm>
            <a:off x="9355138" y="6253162"/>
            <a:ext cx="739775" cy="182563"/>
            <a:chOff x="5893" y="4026"/>
            <a:chExt cx="466" cy="115"/>
          </a:xfrm>
        </p:grpSpPr>
        <p:sp>
          <p:nvSpPr>
            <p:cNvPr id="66" name="Rectangle 137"/>
            <p:cNvSpPr>
              <a:spLocks noChangeArrowheads="1"/>
            </p:cNvSpPr>
            <p:nvPr userDrawn="1"/>
          </p:nvSpPr>
          <p:spPr bwMode="auto">
            <a:xfrm flipV="1">
              <a:off x="6010" y="4026"/>
              <a:ext cx="116" cy="115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7" name="Rectangle 138"/>
            <p:cNvSpPr>
              <a:spLocks noChangeArrowheads="1"/>
            </p:cNvSpPr>
            <p:nvPr userDrawn="1"/>
          </p:nvSpPr>
          <p:spPr bwMode="auto">
            <a:xfrm flipV="1">
              <a:off x="6126" y="4026"/>
              <a:ext cx="116" cy="115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8" name="Rectangle 139"/>
            <p:cNvSpPr>
              <a:spLocks noChangeArrowheads="1"/>
            </p:cNvSpPr>
            <p:nvPr userDrawn="1"/>
          </p:nvSpPr>
          <p:spPr bwMode="auto">
            <a:xfrm flipV="1">
              <a:off x="6242" y="4026"/>
              <a:ext cx="117" cy="115"/>
            </a:xfrm>
            <a:prstGeom prst="rect">
              <a:avLst/>
            </a:prstGeom>
            <a:solidFill>
              <a:srgbClr val="CC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9" name="Rectangle 140"/>
            <p:cNvSpPr>
              <a:spLocks noChangeArrowheads="1"/>
            </p:cNvSpPr>
            <p:nvPr userDrawn="1"/>
          </p:nvSpPr>
          <p:spPr bwMode="auto">
            <a:xfrm flipV="1">
              <a:off x="5893" y="4026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70" name="Group 141"/>
          <p:cNvGrpSpPr>
            <a:grpSpLocks/>
          </p:cNvGrpSpPr>
          <p:nvPr/>
        </p:nvGrpSpPr>
        <p:grpSpPr bwMode="auto">
          <a:xfrm>
            <a:off x="9355138" y="6477000"/>
            <a:ext cx="739775" cy="182562"/>
            <a:chOff x="5893" y="4167"/>
            <a:chExt cx="466" cy="115"/>
          </a:xfrm>
        </p:grpSpPr>
        <p:sp>
          <p:nvSpPr>
            <p:cNvPr id="71" name="Rectangle 142"/>
            <p:cNvSpPr>
              <a:spLocks noChangeArrowheads="1"/>
            </p:cNvSpPr>
            <p:nvPr userDrawn="1"/>
          </p:nvSpPr>
          <p:spPr bwMode="auto">
            <a:xfrm flipV="1">
              <a:off x="6010" y="4167"/>
              <a:ext cx="116" cy="115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2" name="Rectangle 143"/>
            <p:cNvSpPr>
              <a:spLocks noChangeArrowheads="1"/>
            </p:cNvSpPr>
            <p:nvPr userDrawn="1"/>
          </p:nvSpPr>
          <p:spPr bwMode="auto">
            <a:xfrm flipV="1">
              <a:off x="6126" y="4167"/>
              <a:ext cx="116" cy="11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3" name="Rectangle 144"/>
            <p:cNvSpPr>
              <a:spLocks noChangeArrowheads="1"/>
            </p:cNvSpPr>
            <p:nvPr userDrawn="1"/>
          </p:nvSpPr>
          <p:spPr bwMode="auto">
            <a:xfrm flipV="1">
              <a:off x="6242" y="4167"/>
              <a:ext cx="117" cy="1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4" name="Rectangle 145"/>
            <p:cNvSpPr>
              <a:spLocks noChangeArrowheads="1"/>
            </p:cNvSpPr>
            <p:nvPr userDrawn="1"/>
          </p:nvSpPr>
          <p:spPr bwMode="auto">
            <a:xfrm flipV="1">
              <a:off x="5893" y="4167"/>
              <a:ext cx="117" cy="11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75" name="Group 96"/>
          <p:cNvGrpSpPr>
            <a:grpSpLocks/>
          </p:cNvGrpSpPr>
          <p:nvPr/>
        </p:nvGrpSpPr>
        <p:grpSpPr bwMode="auto">
          <a:xfrm>
            <a:off x="9356725" y="3225689"/>
            <a:ext cx="739775" cy="188912"/>
            <a:chOff x="5893" y="2251"/>
            <a:chExt cx="466" cy="119"/>
          </a:xfrm>
        </p:grpSpPr>
        <p:sp>
          <p:nvSpPr>
            <p:cNvPr id="76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7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8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9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8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pic>
        <p:nvPicPr>
          <p:cNvPr id="80" name="Picture 7" descr="屏幕快照 2010-04-16 下午0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zh-CN" altLang="en-US" sz="3200" b="1" kern="1200" baseline="0">
          <a:solidFill>
            <a:srgbClr val="0070C0"/>
          </a:solidFill>
          <a:latin typeface="Arial" pitchFamily="34" charset="0"/>
          <a:ea typeface="微软雅黑" pitchFamily="34" charset="-122"/>
          <a:cs typeface="+mn-cs"/>
        </a:defRPr>
      </a:lvl1pPr>
    </p:titleStyle>
    <p:bodyStyle>
      <a:lvl1pPr marL="342900" indent="-3429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"/>
        <a:defRPr lang="zh-CN" altLang="en-US" sz="28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1pPr>
      <a:lvl2pPr marL="742950" indent="-28575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§"/>
        <a:defRPr lang="zh-CN" altLang="en-US" sz="24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2pPr>
      <a:lvl3pPr marL="11430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Wingdings" pitchFamily="2" charset="2"/>
        <a:buChar char="w"/>
        <a:defRPr lang="zh-CN" altLang="en-US" sz="20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3pPr>
      <a:lvl4pPr marL="16002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Arial" pitchFamily="34" charset="0"/>
        <a:buChar char="–"/>
        <a:defRPr lang="zh-CN" altLang="en-US" sz="1800" kern="1200" baseline="0" smtClean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4pPr>
      <a:lvl5pPr marL="2057400" indent="-228600" algn="l" defTabSz="914400" rtl="0" eaLnBrk="1" fontAlgn="base" latinLnBrk="0" hangingPunct="1">
        <a:spcBef>
          <a:spcPts val="600"/>
        </a:spcBef>
        <a:spcAft>
          <a:spcPts val="600"/>
        </a:spcAft>
        <a:buClr>
          <a:srgbClr val="FF9933"/>
        </a:buClr>
        <a:buFont typeface="Arial" pitchFamily="34" charset="0"/>
        <a:buChar char="»"/>
        <a:defRPr lang="zh-CN" altLang="en-US" sz="1600" kern="1200" baseline="0">
          <a:solidFill>
            <a:schemeClr val="tx1"/>
          </a:solidFill>
          <a:latin typeface="Arial" pitchFamily="34" charset="0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7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447800"/>
            <a:ext cx="7772400" cy="1470025"/>
          </a:xfrm>
        </p:spPr>
        <p:txBody>
          <a:bodyPr/>
          <a:lstStyle/>
          <a:p>
            <a:pPr eaLnBrk="1" hangingPunct="1"/>
            <a:r>
              <a:rPr lang="en-US" altLang="zh-CN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201X</a:t>
            </a:r>
            <a:r>
              <a:rPr lang="zh-CN" altLang="en-US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年度研发项目</a:t>
            </a:r>
            <a:r>
              <a:rPr lang="zh-CN" altLang="en-US" sz="36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年度</a:t>
            </a:r>
            <a:r>
              <a:rPr lang="zh-CN" altLang="en-US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36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汇报</a:t>
            </a:r>
            <a:endParaRPr lang="zh-CN" altLang="en-US" sz="3600" b="1" dirty="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67000" y="3962400"/>
            <a:ext cx="5334000" cy="1981200"/>
          </a:xfrm>
        </p:spPr>
        <p:txBody>
          <a:bodyPr/>
          <a:lstStyle/>
          <a:p>
            <a:pPr algn="l" eaLnBrk="1" hangingPunct="1"/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单位：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XXXX</a:t>
            </a:r>
          </a:p>
          <a:p>
            <a:pPr algn="l" eaLnBrk="1" hangingPunct="1"/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时间：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01X-XX-XX</a:t>
            </a:r>
            <a:endParaRPr lang="zh-CN" altLang="en-US" sz="2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48035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72047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5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下年度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研发工作重点</a:t>
            </a:r>
          </a:p>
        </p:txBody>
      </p:sp>
    </p:spTree>
    <p:extLst>
      <p:ext uri="{BB962C8B-B14F-4D97-AF65-F5344CB8AC3E}">
        <p14:creationId xmlns:p14="http://schemas.microsoft.com/office/powerpoint/2010/main" val="304240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5410200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877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6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需协调支持的事项</a:t>
            </a:r>
            <a:endParaRPr lang="zh-CN" altLang="en-US" sz="2800" b="1" kern="120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600" y="2339975"/>
            <a:ext cx="7772400" cy="1470025"/>
          </a:xfrm>
        </p:spPr>
        <p:txBody>
          <a:bodyPr/>
          <a:lstStyle/>
          <a:p>
            <a:pPr eaLnBrk="1" hangingPunct="1">
              <a:defRPr/>
            </a:pPr>
            <a:r>
              <a:rPr lang="zh-CN" altLang="en-US" sz="54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谢     谢！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2401704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1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本年度研发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整体进展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28985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877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2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本年度研发成果介绍</a:t>
            </a:r>
            <a:endParaRPr lang="zh-CN" altLang="en-US" sz="2800" b="1" kern="120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35081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877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3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本年度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研发存在的问题</a:t>
            </a: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3143240" y="4117791"/>
            <a:ext cx="5072098" cy="606609"/>
          </a:xfrm>
          <a:prstGeom prst="roundRect">
            <a:avLst/>
          </a:prstGeom>
          <a:solidFill>
            <a:srgbClr val="FF9933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5000"/>
              </a:lnSpc>
              <a:buClr>
                <a:srgbClr val="FFCC00"/>
              </a:buClr>
              <a:buFont typeface="Wingdings" pitchFamily="2" charset="2"/>
              <a:buChar char="n"/>
              <a:defRPr/>
            </a:pPr>
            <a:endParaRPr kumimoji="1" lang="zh-CN" altLang="en-US" sz="1600"/>
          </a:p>
        </p:txBody>
      </p:sp>
      <p:sp>
        <p:nvSpPr>
          <p:cNvPr id="86021" name="Text Box 94"/>
          <p:cNvSpPr txBox="1">
            <a:spLocks noChangeArrowheads="1"/>
          </p:cNvSpPr>
          <p:nvPr/>
        </p:nvSpPr>
        <p:spPr bwMode="auto">
          <a:xfrm>
            <a:off x="3286125" y="2374900"/>
            <a:ext cx="5572125" cy="430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整体进展</a:t>
            </a:r>
            <a:endParaRPr lang="en-US" altLang="zh-CN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成果介绍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本年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存在的问题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年度研发工作思路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下季度研发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工作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重点</a:t>
            </a:r>
            <a:endParaRPr lang="en-US" altLang="zh-CN" sz="2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Clr>
                <a:schemeClr val="tx1"/>
              </a:buClr>
              <a:buSzPct val="70000"/>
              <a:buFont typeface="Wingdings" pitchFamily="2" charset="2"/>
              <a:buChar char="l"/>
            </a:pP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</a:rPr>
              <a:t>、需协调支持的事项</a:t>
            </a:r>
            <a:endParaRPr lang="zh-CN" altLang="en-US" sz="24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SzPct val="70000"/>
            </a:pPr>
            <a:endParaRPr lang="zh-CN" altLang="en-US" sz="240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1877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pPr algn="l" eaLnBrk="1" hangingPunct="1">
              <a:spcBef>
                <a:spcPct val="20000"/>
              </a:spcBef>
            </a:pPr>
            <a:r>
              <a:rPr lang="en-US" altLang="zh-CN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4</a:t>
            </a:r>
            <a:r>
              <a:rPr lang="zh-CN" altLang="en-US" sz="2800" b="1" kern="120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、下年度研发工作思路</a:t>
            </a:r>
            <a:endParaRPr lang="zh-CN" altLang="en-US" sz="2800" b="1" kern="120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26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AMkbsfEesLPeqrFeb0A"/>
</p:tagLst>
</file>

<file path=ppt/theme/theme1.xml><?xml version="1.0" encoding="utf-8"?>
<a:theme xmlns:a="http://schemas.openxmlformats.org/drawingml/2006/main" name="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自定义设计方案">
  <a:themeElements>
    <a:clrScheme name="1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自定义设计方案">
  <a:themeElements>
    <a:clrScheme name="2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7_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7_自定义设计方案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自定义设计方案">
  <a:themeElements>
    <a:clrScheme name="4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atang">
  <a:themeElements>
    <a:clrScheme name="cattsof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399"/>
      </a:accent1>
      <a:accent2>
        <a:srgbClr val="D2D6E5"/>
      </a:accent2>
      <a:accent3>
        <a:srgbClr val="5067A5"/>
      </a:accent3>
      <a:accent4>
        <a:srgbClr val="B1BAD4"/>
      </a:accent4>
      <a:accent5>
        <a:srgbClr val="8393BC"/>
      </a:accent5>
      <a:accent6>
        <a:srgbClr val="99999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0C0"/>
        </a:solidFill>
        <a:ln>
          <a:solidFill>
            <a:srgbClr val="0070C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44000" indent="-144000" fontAlgn="base">
          <a:lnSpc>
            <a:spcPct val="120000"/>
          </a:lnSpc>
          <a:buClr>
            <a:srgbClr val="FF9933"/>
          </a:buClr>
          <a:buSzPct val="120000"/>
          <a:buFont typeface="Arial" pitchFamily="34" charset="0"/>
          <a:buChar char="•"/>
          <a:defRPr sz="1400">
            <a:latin typeface="Arial" pitchFamily="34" charset="0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attsof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03399"/>
    </a:accent1>
    <a:accent2>
      <a:srgbClr val="D2D6E5"/>
    </a:accent2>
    <a:accent3>
      <a:srgbClr val="5067A5"/>
    </a:accent3>
    <a:accent4>
      <a:srgbClr val="B1BAD4"/>
    </a:accent4>
    <a:accent5>
      <a:srgbClr val="8393BC"/>
    </a:accent5>
    <a:accent6>
      <a:srgbClr val="999999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3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4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5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6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7.xml><?xml version="1.0" encoding="utf-8"?>
<a:themeOverride xmlns:a="http://schemas.openxmlformats.org/drawingml/2006/main">
  <a:clrScheme name="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8.xml><?xml version="1.0" encoding="utf-8"?>
<a:themeOverride xmlns:a="http://schemas.openxmlformats.org/drawingml/2006/main">
  <a:clrScheme name="2_自定义设计方案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97</TotalTime>
  <Words>306</Words>
  <Application>Microsoft Office PowerPoint</Application>
  <PresentationFormat>全屏显示(4:3)</PresentationFormat>
  <Paragraphs>52</Paragraphs>
  <Slides>14</Slides>
  <Notes>6</Notes>
  <HiddenSlides>0</HiddenSlides>
  <MMClips>0</MMClips>
  <ScaleCrop>false</ScaleCrop>
  <HeadingPairs>
    <vt:vector size="4" baseType="variant">
      <vt:variant>
        <vt:lpstr>主题</vt:lpstr>
      </vt:variant>
      <vt:variant>
        <vt:i4>6</vt:i4>
      </vt:variant>
      <vt:variant>
        <vt:lpstr>幻灯片标题</vt:lpstr>
      </vt:variant>
      <vt:variant>
        <vt:i4>14</vt:i4>
      </vt:variant>
    </vt:vector>
  </HeadingPairs>
  <TitlesOfParts>
    <vt:vector size="20" baseType="lpstr">
      <vt:lpstr>自定义设计方案</vt:lpstr>
      <vt:lpstr>1_自定义设计方案</vt:lpstr>
      <vt:lpstr>2_自定义设计方案</vt:lpstr>
      <vt:lpstr>17_自定义设计方案</vt:lpstr>
      <vt:lpstr>4_自定义设计方案</vt:lpstr>
      <vt:lpstr>Datang</vt:lpstr>
      <vt:lpstr>201X年度研发项目年度工作汇报</vt:lpstr>
      <vt:lpstr>PowerPoint 演示文稿</vt:lpstr>
      <vt:lpstr>1、本年度研发整体进展</vt:lpstr>
      <vt:lpstr>PowerPoint 演示文稿</vt:lpstr>
      <vt:lpstr>2、本年度研发成果介绍</vt:lpstr>
      <vt:lpstr>PowerPoint 演示文稿</vt:lpstr>
      <vt:lpstr>3、本年度研发存在的问题</vt:lpstr>
      <vt:lpstr>PowerPoint 演示文稿</vt:lpstr>
      <vt:lpstr>4、下年度研发工作思路</vt:lpstr>
      <vt:lpstr>PowerPoint 演示文稿</vt:lpstr>
      <vt:lpstr>5、下年度研发工作重点</vt:lpstr>
      <vt:lpstr>PowerPoint 演示文稿</vt:lpstr>
      <vt:lpstr>6、需协调支持的事项</vt:lpstr>
      <vt:lpstr>谢     谢！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zhouwenjuan</cp:lastModifiedBy>
  <cp:revision>530</cp:revision>
  <cp:lastPrinted>1601-01-01T00:00:00Z</cp:lastPrinted>
  <dcterms:created xsi:type="dcterms:W3CDTF">1601-01-01T00:00:00Z</dcterms:created>
  <dcterms:modified xsi:type="dcterms:W3CDTF">2014-04-09T02:3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